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797675" cy="9926638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/>
  </p:cmAuthor>
  <p:cmAuthor id="3" name="Miloud KADDAR" initials="MK" lastIdx="8" clrIdx="3">
    <p:extLst/>
  </p:cmAuthor>
  <p:cmAuthor id="4" name="Leah Ewald" initials="LE" lastIdx="8" clrIdx="4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E3FC"/>
    <a:srgbClr val="E5FCBE"/>
    <a:srgbClr val="00A6B6"/>
    <a:srgbClr val="A80A4B"/>
    <a:srgbClr val="CAEF00"/>
    <a:srgbClr val="00E8FF"/>
    <a:srgbClr val="07E1F5"/>
    <a:srgbClr val="CB1C68"/>
    <a:srgbClr val="E5E5E5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B5E700-6A07-0C53-E881-297039A81361}" v="482" dt="2019-04-01T08:59:08.474"/>
    <p1510:client id="{6FFDD462-42D3-4F14-BEC1-BE6481B52192}" v="1" dt="2019-04-01T08:47:48.1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32"/>
  </p:normalViewPr>
  <p:slideViewPr>
    <p:cSldViewPr snapToGrid="0">
      <p:cViewPr>
        <p:scale>
          <a:sx n="111" d="100"/>
          <a:sy n="111" d="100"/>
        </p:scale>
        <p:origin x="152" y="-472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lome Keshelashvili" userId="S::s.keshelashvili@curatio.com::2a5b5c28-ef64-49cc-951f-9bbed20db8ff" providerId="AD" clId="Web-{30B5E700-6A07-0C53-E881-297039A81361}"/>
    <pc:docChg chg="modSld">
      <pc:chgData name="Salome Keshelashvili" userId="S::s.keshelashvili@curatio.com::2a5b5c28-ef64-49cc-951f-9bbed20db8ff" providerId="AD" clId="Web-{30B5E700-6A07-0C53-E881-297039A81361}" dt="2019-04-01T08:59:08.474" v="498" actId="20577"/>
      <pc:docMkLst>
        <pc:docMk/>
      </pc:docMkLst>
      <pc:sldChg chg="addSp delSp modSp">
        <pc:chgData name="Salome Keshelashvili" userId="S::s.keshelashvili@curatio.com::2a5b5c28-ef64-49cc-951f-9bbed20db8ff" providerId="AD" clId="Web-{30B5E700-6A07-0C53-E881-297039A81361}" dt="2019-04-01T08:58:51.834" v="496" actId="20577"/>
        <pc:sldMkLst>
          <pc:docMk/>
          <pc:sldMk cId="2642579564" sldId="280"/>
        </pc:sldMkLst>
        <pc:spChg chg="mod">
          <ac:chgData name="Salome Keshelashvili" userId="S::s.keshelashvili@curatio.com::2a5b5c28-ef64-49cc-951f-9bbed20db8ff" providerId="AD" clId="Web-{30B5E700-6A07-0C53-E881-297039A81361}" dt="2019-04-01T08:44:07.930" v="250" actId="14100"/>
          <ac:spMkLst>
            <pc:docMk/>
            <pc:sldMk cId="2642579564" sldId="280"/>
            <ac:spMk id="33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13:30.357" v="18" actId="14100"/>
          <ac:spMkLst>
            <pc:docMk/>
            <pc:sldMk cId="2642579564" sldId="280"/>
            <ac:spMk id="34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44:58.414" v="253" actId="14100"/>
          <ac:spMkLst>
            <pc:docMk/>
            <pc:sldMk cId="2642579564" sldId="280"/>
            <ac:spMk id="49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58:51.834" v="496" actId="20577"/>
          <ac:spMkLst>
            <pc:docMk/>
            <pc:sldMk cId="2642579564" sldId="280"/>
            <ac:spMk id="51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49:34.257" v="290" actId="20577"/>
          <ac:spMkLst>
            <pc:docMk/>
            <pc:sldMk cId="2642579564" sldId="280"/>
            <ac:spMk id="52" creationId="{5D5516FA-8FE7-A347-BB4A-250FA55890AC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35:54.056" v="213" actId="14100"/>
          <ac:spMkLst>
            <pc:docMk/>
            <pc:sldMk cId="2642579564" sldId="280"/>
            <ac:spMk id="62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22:31.308" v="77" actId="1076"/>
          <ac:spMkLst>
            <pc:docMk/>
            <pc:sldMk cId="2642579564" sldId="280"/>
            <ac:spMk id="64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23:53.589" v="88" actId="14100"/>
          <ac:spMkLst>
            <pc:docMk/>
            <pc:sldMk cId="2642579564" sldId="280"/>
            <ac:spMk id="85" creationId="{5D9926A3-45B7-B042-B353-5D6562C95376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18:32.731" v="58" actId="1076"/>
          <ac:spMkLst>
            <pc:docMk/>
            <pc:sldMk cId="2642579564" sldId="280"/>
            <ac:spMk id="95" creationId="{F95DD650-2801-8840-B00F-E508B753DD9E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45:06.601" v="254" actId="14100"/>
          <ac:spMkLst>
            <pc:docMk/>
            <pc:sldMk cId="2642579564" sldId="280"/>
            <ac:spMk id="97" creationId="{82CD7128-E409-1A43-B8F5-F2940EE5CA3B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42:35.711" v="245" actId="14100"/>
          <ac:spMkLst>
            <pc:docMk/>
            <pc:sldMk cId="2642579564" sldId="280"/>
            <ac:spMk id="140" creationId="{C14302F3-D4A2-944A-8ED5-4FF089EC7306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24:37.902" v="95" actId="1076"/>
          <ac:spMkLst>
            <pc:docMk/>
            <pc:sldMk cId="2642579564" sldId="280"/>
            <ac:spMk id="141" creationId="{190075EB-6665-AD47-BCCC-4A83C3902FCC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45:33.883" v="261" actId="20577"/>
          <ac:spMkLst>
            <pc:docMk/>
            <pc:sldMk cId="2642579564" sldId="280"/>
            <ac:spMk id="144" creationId="{C4B24CA3-ED8E-5045-8908-E1322293923F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26:58.729" v="109" actId="1076"/>
          <ac:spMkLst>
            <pc:docMk/>
            <pc:sldMk cId="2642579564" sldId="280"/>
            <ac:spMk id="145" creationId="{DC5B96A6-C043-C64B-988A-F892047E31DC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55:27.553" v="491" actId="1076"/>
          <ac:spMkLst>
            <pc:docMk/>
            <pc:sldMk cId="2642579564" sldId="280"/>
            <ac:spMk id="149" creationId="{1E5EEEFB-B9E4-624D-82C1-9057FDEF35E4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55:36.522" v="492" actId="1076"/>
          <ac:spMkLst>
            <pc:docMk/>
            <pc:sldMk cId="2642579564" sldId="280"/>
            <ac:spMk id="150" creationId="{2E6E492F-8286-5B4E-8F99-3EC4FD6B954A}"/>
          </ac:spMkLst>
        </pc:spChg>
        <pc:spChg chg="mod">
          <ac:chgData name="Salome Keshelashvili" userId="S::s.keshelashvili@curatio.com::2a5b5c28-ef64-49cc-951f-9bbed20db8ff" providerId="AD" clId="Web-{30B5E700-6A07-0C53-E881-297039A81361}" dt="2019-04-01T08:55:42.256" v="493" actId="1076"/>
          <ac:spMkLst>
            <pc:docMk/>
            <pc:sldMk cId="2642579564" sldId="280"/>
            <ac:spMk id="151" creationId="{121F205F-4646-554A-AEF6-AA56AA9B04EF}"/>
          </ac:spMkLst>
        </pc:spChg>
        <pc:grpChg chg="mod">
          <ac:chgData name="Salome Keshelashvili" userId="S::s.keshelashvili@curatio.com::2a5b5c28-ef64-49cc-951f-9bbed20db8ff" providerId="AD" clId="Web-{30B5E700-6A07-0C53-E881-297039A81361}" dt="2019-04-01T08:24:14.074" v="92" actId="14100"/>
          <ac:grpSpMkLst>
            <pc:docMk/>
            <pc:sldMk cId="2642579564" sldId="280"/>
            <ac:grpSpMk id="110" creationId="{88EBE286-59AA-A54D-ABD4-801A3A97834F}"/>
          </ac:grpSpMkLst>
        </pc:grpChg>
        <pc:graphicFrameChg chg="mod modGraphic">
          <ac:chgData name="Salome Keshelashvili" userId="S::s.keshelashvili@curatio.com::2a5b5c28-ef64-49cc-951f-9bbed20db8ff" providerId="AD" clId="Web-{30B5E700-6A07-0C53-E881-297039A81361}" dt="2019-04-01T08:24:07.324" v="91"/>
          <ac:graphicFrameMkLst>
            <pc:docMk/>
            <pc:sldMk cId="2642579564" sldId="280"/>
            <ac:graphicFrameMk id="3" creationId="{00000000-0000-0000-0000-000000000000}"/>
          </ac:graphicFrameMkLst>
        </pc:graphicFrameChg>
        <pc:picChg chg="add mod">
          <ac:chgData name="Salome Keshelashvili" userId="S::s.keshelashvili@curatio.com::2a5b5c28-ef64-49cc-951f-9bbed20db8ff" providerId="AD" clId="Web-{30B5E700-6A07-0C53-E881-297039A81361}" dt="2019-04-01T08:40:24.696" v="230" actId="14100"/>
          <ac:picMkLst>
            <pc:docMk/>
            <pc:sldMk cId="2642579564" sldId="280"/>
            <ac:picMk id="2" creationId="{AA7B6C2C-B8A5-40B6-8020-410DB26A441D}"/>
          </ac:picMkLst>
        </pc:picChg>
        <pc:picChg chg="mod">
          <ac:chgData name="Salome Keshelashvili" userId="S::s.keshelashvili@curatio.com::2a5b5c28-ef64-49cc-951f-9bbed20db8ff" providerId="AD" clId="Web-{30B5E700-6A07-0C53-E881-297039A81361}" dt="2019-04-01T08:40:10.071" v="227" actId="14100"/>
          <ac:picMkLst>
            <pc:docMk/>
            <pc:sldMk cId="2642579564" sldId="280"/>
            <ac:picMk id="54" creationId="{B5848D39-2C0E-7F41-9E19-70636F9B0D2A}"/>
          </ac:picMkLst>
        </pc:picChg>
        <pc:picChg chg="del">
          <ac:chgData name="Salome Keshelashvili" userId="S::s.keshelashvili@curatio.com::2a5b5c28-ef64-49cc-951f-9bbed20db8ff" providerId="AD" clId="Web-{30B5E700-6A07-0C53-E881-297039A81361}" dt="2019-04-01T07:54:20.204" v="6"/>
          <ac:picMkLst>
            <pc:docMk/>
            <pc:sldMk cId="2642579564" sldId="280"/>
            <ac:picMk id="70" creationId="{00000000-0000-0000-0000-000000000000}"/>
          </ac:picMkLst>
        </pc:picChg>
        <pc:picChg chg="mod">
          <ac:chgData name="Salome Keshelashvili" userId="S::s.keshelashvili@curatio.com::2a5b5c28-ef64-49cc-951f-9bbed20db8ff" providerId="AD" clId="Web-{30B5E700-6A07-0C53-E881-297039A81361}" dt="2019-04-01T08:26:44.214" v="108" actId="14100"/>
          <ac:picMkLst>
            <pc:docMk/>
            <pc:sldMk cId="2642579564" sldId="280"/>
            <ac:picMk id="72" creationId="{00000000-0000-0000-0000-000000000000}"/>
          </ac:picMkLst>
        </pc:picChg>
        <pc:picChg chg="mod">
          <ac:chgData name="Salome Keshelashvili" userId="S::s.keshelashvili@curatio.com::2a5b5c28-ef64-49cc-951f-9bbed20db8ff" providerId="AD" clId="Web-{30B5E700-6A07-0C53-E881-297039A81361}" dt="2019-04-01T08:40:38.930" v="232" actId="14100"/>
          <ac:picMkLst>
            <pc:docMk/>
            <pc:sldMk cId="2642579564" sldId="280"/>
            <ac:picMk id="73" creationId="{00000000-0000-0000-0000-000000000000}"/>
          </ac:picMkLst>
        </pc:picChg>
        <pc:cxnChg chg="mod">
          <ac:chgData name="Salome Keshelashvili" userId="S::s.keshelashvili@curatio.com::2a5b5c28-ef64-49cc-951f-9bbed20db8ff" providerId="AD" clId="Web-{30B5E700-6A07-0C53-E881-297039A81361}" dt="2019-04-01T08:43:34.086" v="248" actId="1076"/>
          <ac:cxnSpMkLst>
            <pc:docMk/>
            <pc:sldMk cId="2642579564" sldId="280"/>
            <ac:cxnSpMk id="56" creationId="{BAD16F3E-F2F3-F84D-9B89-032CBDB5B869}"/>
          </ac:cxnSpMkLst>
        </pc:cxnChg>
        <pc:cxnChg chg="mod">
          <ac:chgData name="Salome Keshelashvili" userId="S::s.keshelashvili@curatio.com::2a5b5c28-ef64-49cc-951f-9bbed20db8ff" providerId="AD" clId="Web-{30B5E700-6A07-0C53-E881-297039A81361}" dt="2019-04-01T08:43:39.024" v="249" actId="1076"/>
          <ac:cxnSpMkLst>
            <pc:docMk/>
            <pc:sldMk cId="2642579564" sldId="280"/>
            <ac:cxnSpMk id="69" creationId="{BAD16F3E-F2F3-F84D-9B89-032CBDB5B869}"/>
          </ac:cxnSpMkLst>
        </pc:cxnChg>
      </pc:sldChg>
    </pc:docChg>
  </pc:docChgLst>
  <pc:docChgLst>
    <pc:chgData name="Nata Gordeziani" userId="1e553c8c-0598-40f7-956f-e98aed8fe748" providerId="ADAL" clId="{6FFDD462-42D3-4F14-BEC1-BE6481B52192}"/>
    <pc:docChg chg="modSld">
      <pc:chgData name="Nata Gordeziani" userId="1e553c8c-0598-40f7-956f-e98aed8fe748" providerId="ADAL" clId="{6FFDD462-42D3-4F14-BEC1-BE6481B52192}" dt="2019-04-01T08:47:48.165" v="0"/>
      <pc:docMkLst>
        <pc:docMk/>
      </pc:docMkLst>
      <pc:sldChg chg="modSp">
        <pc:chgData name="Nata Gordeziani" userId="1e553c8c-0598-40f7-956f-e98aed8fe748" providerId="ADAL" clId="{6FFDD462-42D3-4F14-BEC1-BE6481B52192}" dt="2019-04-01T08:47:48.165" v="0"/>
        <pc:sldMkLst>
          <pc:docMk/>
          <pc:sldMk cId="2642579564" sldId="280"/>
        </pc:sldMkLst>
        <pc:spChg chg="mod">
          <ac:chgData name="Nata Gordeziani" userId="1e553c8c-0598-40f7-956f-e98aed8fe748" providerId="ADAL" clId="{6FFDD462-42D3-4F14-BEC1-BE6481B52192}" dt="2019-04-01T08:47:48.165" v="0"/>
          <ac:spMkLst>
            <pc:docMk/>
            <pc:sldMk cId="2642579564" sldId="280"/>
            <ac:spMk id="149" creationId="{1E5EEEFB-B9E4-624D-82C1-9057FDEF35E4}"/>
          </ac:spMkLst>
        </pc:spChg>
      </pc:sldChg>
    </pc:docChg>
  </pc:docChgLst>
  <pc:docChgLst>
    <pc:chgData name="Salome Keshelashvili" userId="S::s.keshelashvili@curatio.com::2a5b5c28-ef64-49cc-951f-9bbed20db8ff" providerId="AD" clId="Web-{FCB327A5-C233-408A-9A62-B476FB8563B6}"/>
    <pc:docChg chg="modSld">
      <pc:chgData name="Salome Keshelashvili" userId="S::s.keshelashvili@curatio.com::2a5b5c28-ef64-49cc-951f-9bbed20db8ff" providerId="AD" clId="Web-{FCB327A5-C233-408A-9A62-B476FB8563B6}" dt="2019-03-27T18:42:13.760" v="2" actId="14100"/>
      <pc:docMkLst>
        <pc:docMk/>
      </pc:docMkLst>
      <pc:sldChg chg="modSp">
        <pc:chgData name="Salome Keshelashvili" userId="S::s.keshelashvili@curatio.com::2a5b5c28-ef64-49cc-951f-9bbed20db8ff" providerId="AD" clId="Web-{FCB327A5-C233-408A-9A62-B476FB8563B6}" dt="2019-03-27T18:42:13.760" v="2" actId="14100"/>
        <pc:sldMkLst>
          <pc:docMk/>
          <pc:sldMk cId="2642579564" sldId="280"/>
        </pc:sldMkLst>
        <pc:spChg chg="mod">
          <ac:chgData name="Salome Keshelashvili" userId="S::s.keshelashvili@curatio.com::2a5b5c28-ef64-49cc-951f-9bbed20db8ff" providerId="AD" clId="Web-{FCB327A5-C233-408A-9A62-B476FB8563B6}" dt="2019-03-27T18:42:13.760" v="2" actId="14100"/>
          <ac:spMkLst>
            <pc:docMk/>
            <pc:sldMk cId="2642579564" sldId="280"/>
            <ac:spMk id="149" creationId="{1E5EEEFB-B9E4-624D-82C1-9057FDEF35E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>
                <a:latin typeface="Arial"/>
                <a:cs typeface="Arial"/>
              </a:rPr>
              <a:t> | </a:t>
            </a:r>
            <a:r>
              <a:rPr lang="en-US" err="1">
                <a:latin typeface="Arial"/>
                <a:cs typeface="Arial"/>
              </a:rPr>
              <a:t>www.lnct.global</a:t>
            </a:r>
            <a:endParaRPr lang="en-US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-17809" y="1722840"/>
            <a:ext cx="12819089" cy="797366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5023" y="6488391"/>
            <a:ext cx="8452172" cy="2561715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564062" y="6492317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>
                <a:solidFill>
                  <a:srgbClr val="CB1C68"/>
                </a:solidFill>
                <a:latin typeface="Arial"/>
                <a:cs typeface="Arial"/>
              </a:rPr>
              <a:t>IV. Key Challenge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797310" cy="1719288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99979" y="201414"/>
            <a:ext cx="12126761" cy="117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ts val="175"/>
              </a:spcAft>
            </a:pPr>
            <a:r>
              <a:rPr lang="en-US" sz="3500" b="1">
                <a:solidFill>
                  <a:schemeClr val="bg2"/>
                </a:solidFill>
                <a:latin typeface="Arial"/>
                <a:cs typeface="Arial"/>
              </a:rPr>
              <a:t>Republic of Armenia</a:t>
            </a:r>
          </a:p>
          <a:p>
            <a:pPr eaLnBrk="1" hangingPunct="1">
              <a:spcAft>
                <a:spcPts val="175"/>
              </a:spcAft>
            </a:pPr>
            <a:r>
              <a:rPr lang="en-US" sz="2100" b="1">
                <a:solidFill>
                  <a:schemeClr val="bg2"/>
                </a:solidFill>
                <a:latin typeface="Arial"/>
                <a:cs typeface="Arial"/>
              </a:rPr>
              <a:t>Vaccine Procurement Workshop </a:t>
            </a:r>
          </a:p>
          <a:p>
            <a:pPr eaLnBrk="1" hangingPunct="1"/>
            <a:r>
              <a:rPr lang="en-US" sz="1600" b="1" i="1">
                <a:solidFill>
                  <a:schemeClr val="bg2"/>
                </a:solidFill>
                <a:latin typeface="Arial"/>
                <a:cs typeface="Arial"/>
              </a:rPr>
              <a:t>Tbilisi, April, 2019</a:t>
            </a:r>
            <a:endParaRPr lang="en-US" sz="2600">
              <a:solidFill>
                <a:schemeClr val="bg2"/>
              </a:solidFill>
              <a:latin typeface="Arial"/>
              <a:cs typeface="Arial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0" y="1574292"/>
            <a:ext cx="12801600" cy="13335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664670" y="1785218"/>
            <a:ext cx="4084665" cy="4596825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699647" y="1921491"/>
            <a:ext cx="4049687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 anchor="t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III. Vaccine Procurement in Practice</a:t>
            </a:r>
          </a:p>
        </p:txBody>
      </p:sp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43" y="9188850"/>
            <a:ext cx="1926825" cy="413426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6110811" y="9050248"/>
            <a:ext cx="1613824" cy="667426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4294187" y="1747839"/>
            <a:ext cx="4387972" cy="4619598"/>
            <a:chOff x="3795267" y="1736010"/>
            <a:chExt cx="4492902" cy="4392248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795267" y="1736010"/>
              <a:ext cx="4492902" cy="4392248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3936930" y="1889630"/>
              <a:ext cx="4022394" cy="625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700" b="1" dirty="0">
                  <a:solidFill>
                    <a:srgbClr val="CB1C68"/>
                  </a:solidFill>
                  <a:latin typeface="Arial"/>
                  <a:cs typeface="Arial"/>
                </a:rPr>
                <a:t>II. </a:t>
              </a:r>
              <a:r>
                <a:rPr lang="en-US" sz="1600" b="1" dirty="0">
                  <a:solidFill>
                    <a:srgbClr val="CB1C68"/>
                  </a:solidFill>
                  <a:latin typeface="Arial"/>
                  <a:cs typeface="Arial"/>
                </a:rPr>
                <a:t>Vaccine Procurement </a:t>
              </a:r>
              <a:endParaRPr lang="ru-RU" sz="1600" b="1" dirty="0">
                <a:solidFill>
                  <a:srgbClr val="CB1C68"/>
                </a:solidFill>
                <a:latin typeface="Arial"/>
                <a:cs typeface="Arial"/>
              </a:endParaRPr>
            </a:p>
            <a:p>
              <a:pPr eaLnBrk="1" hangingPunct="1">
                <a:spcBef>
                  <a:spcPct val="50000"/>
                </a:spcBef>
              </a:pPr>
              <a:r>
                <a:rPr lang="en-US" sz="1600" b="1" dirty="0">
                  <a:solidFill>
                    <a:srgbClr val="CB1C68"/>
                  </a:solidFill>
                  <a:latin typeface="Arial"/>
                  <a:cs typeface="Arial"/>
                </a:rPr>
                <a:t>Organogram 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4058615" y="2964173"/>
              <a:ext cx="113107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Ministry of Health</a:t>
              </a: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DEF575CD-CC38-954A-BE73-9658E6649F03}"/>
                </a:ext>
              </a:extLst>
            </p:cNvPr>
            <p:cNvSpPr/>
            <p:nvPr/>
          </p:nvSpPr>
          <p:spPr>
            <a:xfrm>
              <a:off x="6013060" y="3516963"/>
              <a:ext cx="1469418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b="1"/>
                <a:t>UNICEF CO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7273496" y="2964173"/>
              <a:ext cx="53501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err="1">
                  <a:solidFill>
                    <a:schemeClr val="tx1"/>
                  </a:solidFill>
                </a:rPr>
                <a:t>MoF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901734" y="5517108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Contractors</a:t>
              </a:r>
            </a:p>
          </p:txBody>
        </p:sp>
        <p:cxnSp>
          <p:nvCxnSpPr>
            <p:cNvPr id="19" name="Elbow Connector 18">
              <a:extLst>
                <a:ext uri="{FF2B5EF4-FFF2-40B4-BE49-F238E27FC236}">
                  <a16:creationId xmlns:a16="http://schemas.microsoft.com/office/drawing/2014/main" id="{800561FC-FF3F-BC4F-B878-FE08ADD3D6E1}"/>
                </a:ext>
              </a:extLst>
            </p:cNvPr>
            <p:cNvCxnSpPr>
              <a:cxnSpLocks/>
              <a:stCxn id="77" idx="3"/>
              <a:endCxn id="23" idx="2"/>
            </p:cNvCxnSpPr>
            <p:nvPr/>
          </p:nvCxnSpPr>
          <p:spPr>
            <a:xfrm flipV="1">
              <a:off x="5372333" y="3783663"/>
              <a:ext cx="1375436" cy="817531"/>
            </a:xfrm>
            <a:prstGeom prst="bentConnector2">
              <a:avLst/>
            </a:prstGeom>
            <a:ln w="38100"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DA2F88E-72BE-A549-AC1D-81283A0B766A}"/>
                </a:ext>
              </a:extLst>
            </p:cNvPr>
            <p:cNvSpPr/>
            <p:nvPr/>
          </p:nvSpPr>
          <p:spPr>
            <a:xfrm>
              <a:off x="6155019" y="4079188"/>
              <a:ext cx="1183330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b="1"/>
                <a:t>UNICEF C</a:t>
              </a:r>
              <a:r>
                <a:rPr lang="ru-RU" sz="1200" b="1"/>
                <a:t>О</a:t>
              </a:r>
              <a:endParaRPr lang="en-US" sz="1200" b="1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A7B042-C2A6-E34F-AB25-9511628AE6E4}"/>
                </a:ext>
              </a:extLst>
            </p:cNvPr>
            <p:cNvSpPr txBox="1"/>
            <p:nvPr/>
          </p:nvSpPr>
          <p:spPr>
            <a:xfrm>
              <a:off x="5367486" y="4425816"/>
              <a:ext cx="1368692" cy="165424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900"/>
                <a:t>UNICEF Procurement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5241060" y="5611873"/>
              <a:ext cx="1450884" cy="483465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Ministry of Health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  <a:stCxn id="22" idx="3"/>
              <a:endCxn id="78" idx="1"/>
            </p:cNvCxnSpPr>
            <p:nvPr/>
          </p:nvCxnSpPr>
          <p:spPr>
            <a:xfrm>
              <a:off x="5189690" y="3134443"/>
              <a:ext cx="2083806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635374" y="3220029"/>
              <a:ext cx="117795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Financing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736195" y="2780318"/>
              <a:ext cx="102474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Planning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4106030" y="4043104"/>
              <a:ext cx="1266303" cy="1116180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National Center for Disease Control and Prevention MOH</a:t>
              </a:r>
            </a:p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rot="16200000" flipV="1">
              <a:off x="6127210" y="4161840"/>
              <a:ext cx="616274" cy="2094262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943951" y="4692283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</a:rPr>
                <a:t>Custom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5237534" y="5323459"/>
              <a:ext cx="1450884" cy="18081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1000"/>
                <a:t>Local Procurement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49966" y="5897674"/>
              <a:ext cx="691094" cy="314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24" y="1777226"/>
            <a:ext cx="4153817" cy="4624170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755" y="1837881"/>
            <a:ext cx="2867025" cy="188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050" b="1">
                <a:solidFill>
                  <a:srgbClr val="CB1C68"/>
                </a:solidFill>
                <a:latin typeface="Arial"/>
                <a:cs typeface="Arial"/>
              </a:rPr>
              <a:t>I. What and How</a:t>
            </a: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827300" y="2286788"/>
            <a:ext cx="3849669" cy="394291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  <a:latin typeface="+mn-lt"/>
              </a:rPr>
              <a:t>Regulatory and Legal Framework</a:t>
            </a: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228600" indent="-171450">
              <a:buClr>
                <a:srgbClr val="00B0F0"/>
              </a:buClr>
            </a:pPr>
            <a:r>
              <a:rPr lang="en-US" sz="1050" dirty="0">
                <a:latin typeface="+mn-lt"/>
              </a:rPr>
              <a:t>Law of Armenia on Procurement</a:t>
            </a:r>
            <a:r>
              <a:rPr lang="ru-RU" sz="1050" dirty="0">
                <a:latin typeface="+mn-lt"/>
              </a:rPr>
              <a:t>, 2016</a:t>
            </a:r>
            <a:endParaRPr lang="en-US" sz="1050" dirty="0">
              <a:latin typeface="+mn-lt"/>
            </a:endParaRPr>
          </a:p>
          <a:p>
            <a:pPr marL="228600" indent="-171450">
              <a:buClr>
                <a:srgbClr val="00B0F0"/>
              </a:buClr>
            </a:pPr>
            <a:r>
              <a:rPr lang="en-US" sz="1050" dirty="0">
                <a:latin typeface="+mn-lt"/>
              </a:rPr>
              <a:t>Government’s Decree on Vaccine Procurement </a:t>
            </a:r>
            <a:r>
              <a:rPr lang="en-US" sz="1050" spc="-1" dirty="0">
                <a:solidFill>
                  <a:srgbClr val="313231"/>
                </a:solidFill>
                <a:latin typeface="Arial"/>
                <a:ea typeface="DejaVu Sans"/>
              </a:rPr>
              <a:t>N 498-Н, 2018 </a:t>
            </a:r>
            <a:r>
              <a:rPr lang="en-US" sz="1050" dirty="0">
                <a:latin typeface="+mn-lt"/>
              </a:rPr>
              <a:t>(</a:t>
            </a:r>
            <a:r>
              <a:rPr lang="en-US" sz="1050" dirty="0"/>
              <a:t>Government Decree, which makes it possible to make purchases from a single source for 5 years)</a:t>
            </a:r>
            <a:endParaRPr lang="en-US" sz="1050" dirty="0">
              <a:latin typeface="+mn-lt"/>
            </a:endParaRPr>
          </a:p>
          <a:p>
            <a:pPr marL="228600" indent="-171450">
              <a:buClr>
                <a:srgbClr val="00B0F0"/>
              </a:buClr>
            </a:pPr>
            <a:r>
              <a:rPr lang="en-US" sz="1050" dirty="0">
                <a:latin typeface="+mn-lt"/>
              </a:rPr>
              <a:t>By the Government decree </a:t>
            </a:r>
            <a:r>
              <a:rPr lang="ru-RU" sz="1050" dirty="0">
                <a:latin typeface="+mn-lt"/>
              </a:rPr>
              <a:t>(</a:t>
            </a:r>
            <a:r>
              <a:rPr lang="en-US" sz="1050" spc="-1" dirty="0">
                <a:solidFill>
                  <a:srgbClr val="313231"/>
                </a:solidFill>
                <a:latin typeface="Arial"/>
                <a:ea typeface="DejaVu Sans"/>
              </a:rPr>
              <a:t>N 502-Н 2013</a:t>
            </a:r>
            <a:r>
              <a:rPr lang="ru-RU" sz="1050" spc="-1" dirty="0">
                <a:solidFill>
                  <a:srgbClr val="313231"/>
                </a:solidFill>
                <a:latin typeface="Arial"/>
                <a:ea typeface="DejaVu Sans"/>
              </a:rPr>
              <a:t>) </a:t>
            </a:r>
            <a:r>
              <a:rPr lang="en-US" sz="1050" dirty="0">
                <a:latin typeface="+mn-lt"/>
              </a:rPr>
              <a:t>criteria for the creation of unified technical specification of medicines as well as criteria for unregistered medicines were defined</a:t>
            </a:r>
            <a:r>
              <a:rPr lang="ru-RU" sz="1050" dirty="0">
                <a:latin typeface="+mn-lt"/>
              </a:rPr>
              <a:t>.</a:t>
            </a:r>
          </a:p>
          <a:p>
            <a:pPr marL="57150" indent="0">
              <a:buClr>
                <a:srgbClr val="00B0F0"/>
              </a:buClr>
              <a:buNone/>
            </a:pP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  <a:latin typeface="+mn-lt"/>
              </a:rPr>
              <a:t>Recently Introduced Vaccines</a:t>
            </a: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1100" dirty="0">
                <a:latin typeface="+mn-lt"/>
              </a:rPr>
              <a:t>1.</a:t>
            </a:r>
            <a:r>
              <a:rPr lang="en-US" sz="1100" dirty="0">
                <a:latin typeface="+mn-lt"/>
              </a:rPr>
              <a:t>HPV</a:t>
            </a:r>
            <a:r>
              <a:rPr lang="ru-RU" sz="1100" dirty="0">
                <a:latin typeface="+mn-lt"/>
              </a:rPr>
              <a:t> </a:t>
            </a:r>
            <a:r>
              <a:rPr lang="ka-GE" sz="1100" dirty="0">
                <a:latin typeface="+mn-lt"/>
              </a:rPr>
              <a:t>(</a:t>
            </a:r>
            <a:r>
              <a:rPr lang="en-US" sz="1100" dirty="0">
                <a:latin typeface="+mn-lt"/>
              </a:rPr>
              <a:t>Gavi)</a:t>
            </a:r>
            <a:endParaRPr lang="ru-RU" sz="1100" dirty="0"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1100" dirty="0">
                <a:latin typeface="+mn-lt"/>
              </a:rPr>
              <a:t>2.</a:t>
            </a:r>
            <a:r>
              <a:rPr lang="en-US" sz="1100" dirty="0">
                <a:latin typeface="+mn-lt"/>
              </a:rPr>
              <a:t>Hexavalent (State Budget)</a:t>
            </a:r>
            <a:endParaRPr lang="ru-RU" sz="1100" dirty="0"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  <a:latin typeface="+mn-lt"/>
              </a:rPr>
              <a:t>Vaccine Budget</a:t>
            </a: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1050" dirty="0">
                <a:latin typeface="+mn-lt"/>
              </a:rPr>
              <a:t>2018 3.8 </a:t>
            </a:r>
            <a:r>
              <a:rPr lang="en-US" sz="1050" dirty="0" err="1">
                <a:latin typeface="+mn-lt"/>
              </a:rPr>
              <a:t>mln</a:t>
            </a:r>
            <a:r>
              <a:rPr lang="en-US" sz="1050" dirty="0">
                <a:latin typeface="+mn-lt"/>
              </a:rPr>
              <a:t>. USD</a:t>
            </a:r>
            <a:endParaRPr lang="ru-RU" sz="1050" dirty="0"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1050" dirty="0">
                <a:latin typeface="+mn-lt"/>
              </a:rPr>
              <a:t>2019 4.7 </a:t>
            </a:r>
            <a:r>
              <a:rPr lang="en-US" sz="1050" dirty="0" err="1">
                <a:latin typeface="+mn-lt"/>
              </a:rPr>
              <a:t>mln</a:t>
            </a:r>
            <a:r>
              <a:rPr lang="en-US" sz="1050" dirty="0">
                <a:latin typeface="+mn-lt"/>
              </a:rPr>
              <a:t>. USD</a:t>
            </a:r>
          </a:p>
          <a:p>
            <a:pPr marL="57150" indent="0">
              <a:buClr>
                <a:srgbClr val="00B0F0"/>
              </a:buClr>
              <a:buNone/>
            </a:pPr>
            <a:endParaRPr lang="en-US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  <a:latin typeface="+mn-lt"/>
              </a:rPr>
              <a:t>Source of Financing </a:t>
            </a:r>
            <a:r>
              <a:rPr lang="ru-RU" sz="1000" b="1" dirty="0">
                <a:solidFill>
                  <a:srgbClr val="0099FF"/>
                </a:solidFill>
                <a:latin typeface="+mn-lt"/>
              </a:rPr>
              <a:t>– </a:t>
            </a:r>
            <a:r>
              <a:rPr lang="en-US" sz="1100" dirty="0">
                <a:latin typeface="+mn-lt"/>
              </a:rPr>
              <a:t>State Budget of RA</a:t>
            </a:r>
            <a:endParaRPr lang="ru-RU" sz="1100" dirty="0"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  <a:latin typeface="+mn-lt"/>
              </a:rPr>
              <a:t>Source of Information of Vaccine Market and UNICEF Prices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1200" dirty="0">
                <a:latin typeface="+mn-lt"/>
              </a:rPr>
              <a:t>Previous contract prices of state procurement</a:t>
            </a:r>
            <a:endParaRPr lang="ru-RU" sz="1200" dirty="0"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200" dirty="0">
                <a:latin typeface="+mn-lt"/>
              </a:rPr>
              <a:t>Lack and Excess Stocks </a:t>
            </a:r>
            <a:r>
              <a:rPr lang="en-US" sz="1200" i="1" dirty="0">
                <a:latin typeface="+mn-lt"/>
              </a:rPr>
              <a:t>No</a:t>
            </a:r>
            <a:endParaRPr lang="ru-RU" sz="1200" i="1" dirty="0"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  <a:latin typeface="+mn-lt"/>
              </a:rPr>
              <a:t>Other Aspects</a:t>
            </a:r>
            <a:endParaRPr lang="ru-RU" sz="1000" b="1" dirty="0">
              <a:solidFill>
                <a:srgbClr val="0099FF"/>
              </a:solidFill>
              <a:latin typeface="+mn-lt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200" dirty="0">
                <a:latin typeface="+mn-lt"/>
              </a:rPr>
              <a:t>Introduction of the stable system for vaccine procurement</a:t>
            </a:r>
          </a:p>
          <a:p>
            <a:pPr marL="228600" indent="-171450">
              <a:buClr>
                <a:srgbClr val="00B0F0"/>
              </a:buClr>
            </a:pPr>
            <a:endParaRPr lang="en-US" sz="1000" b="1" dirty="0">
              <a:solidFill>
                <a:srgbClr val="0099FF"/>
              </a:solidFill>
              <a:latin typeface="+mn-lt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lvl="1"/>
            <a:endParaRPr lang="en-US" sz="400" dirty="0">
              <a:latin typeface="+mn-lt"/>
            </a:endParaRPr>
          </a:p>
        </p:txBody>
      </p:sp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4671" y="6475787"/>
            <a:ext cx="4277036" cy="2555636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3993" y="6510502"/>
            <a:ext cx="2867025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>
                <a:solidFill>
                  <a:srgbClr val="CB1C68"/>
                </a:solidFill>
                <a:latin typeface="Arial"/>
                <a:cs typeface="Arial"/>
              </a:rPr>
              <a:t>V. Looking Forward</a:t>
            </a: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595874" y="6816531"/>
            <a:ext cx="3978574" cy="225106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</a:rPr>
              <a:t>What main challenges may arise over the next 3 years</a:t>
            </a:r>
            <a:r>
              <a:rPr lang="ru-RU" sz="1000" b="1" dirty="0">
                <a:solidFill>
                  <a:srgbClr val="0099FF"/>
                </a:solidFill>
              </a:rPr>
              <a:t>?</a:t>
            </a:r>
            <a:endParaRPr lang="en-US" sz="1000" b="1" dirty="0">
              <a:solidFill>
                <a:srgbClr val="0099FF"/>
              </a:solidFill>
            </a:endParaRPr>
          </a:p>
          <a:p>
            <a:r>
              <a:rPr lang="en-US" sz="1100" dirty="0">
                <a:latin typeface="Arial"/>
                <a:cs typeface="Arial"/>
              </a:rPr>
              <a:t>Providing continuous procurement with the support from UNICEF.</a:t>
            </a:r>
          </a:p>
          <a:p>
            <a:r>
              <a:rPr lang="en-US" sz="1100" dirty="0">
                <a:latin typeface="Arial"/>
                <a:cs typeface="Arial"/>
              </a:rPr>
              <a:t>Use of the regulatory and legal framework to ensure the sustainable system of procurement </a:t>
            </a:r>
            <a:endParaRPr lang="en-US" sz="1100" dirty="0"/>
          </a:p>
          <a:p>
            <a:pPr marL="0" indent="0">
              <a:buNone/>
            </a:pPr>
            <a:r>
              <a:rPr lang="en-US" sz="1000" b="1" dirty="0">
                <a:solidFill>
                  <a:srgbClr val="0099FF"/>
                </a:solidFill>
                <a:latin typeface="Arial"/>
                <a:cs typeface="Arial"/>
              </a:rPr>
              <a:t>What kind of skills, tools and support might you need to improve vaccine procurement  efficiency and introduction of new vaccines In the near future</a:t>
            </a:r>
            <a:r>
              <a:rPr lang="ru-RU" sz="1000" b="1" dirty="0">
                <a:solidFill>
                  <a:srgbClr val="0099FF"/>
                </a:solidFill>
                <a:latin typeface="Arial"/>
                <a:cs typeface="Arial"/>
              </a:rPr>
              <a:t>?</a:t>
            </a:r>
            <a:endParaRPr lang="en-US" sz="1000" b="1" dirty="0">
              <a:solidFill>
                <a:srgbClr val="0099FF"/>
              </a:solidFill>
            </a:endParaRPr>
          </a:p>
          <a:p>
            <a:r>
              <a:rPr lang="en-US" sz="1100" dirty="0">
                <a:latin typeface="Arial"/>
                <a:cs typeface="Arial"/>
              </a:rPr>
              <a:t>Investigation of legal norms of other countries on procurement.</a:t>
            </a:r>
          </a:p>
          <a:p>
            <a:r>
              <a:rPr lang="en-US" sz="1100" dirty="0">
                <a:latin typeface="Arial"/>
                <a:cs typeface="Arial"/>
              </a:rPr>
              <a:t>Training of specialists.</a:t>
            </a:r>
          </a:p>
          <a:p>
            <a:pPr marL="0" indent="0">
              <a:buClr>
                <a:srgbClr val="00B0F0"/>
              </a:buClr>
              <a:buNone/>
            </a:pPr>
            <a:endParaRPr lang="en-US" sz="1000" b="1" dirty="0">
              <a:solidFill>
                <a:srgbClr val="0099FF"/>
              </a:solidFill>
              <a:latin typeface="+mn-lt"/>
            </a:endParaRPr>
          </a:p>
          <a:p>
            <a:pPr lvl="1"/>
            <a:endParaRPr lang="en-US" sz="1000" dirty="0">
              <a:latin typeface="+mn-lt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4570" y="6878657"/>
            <a:ext cx="1823366" cy="196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 anchor="t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dirty="0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Explaining factors</a:t>
            </a:r>
            <a:endParaRPr lang="ka-GE" sz="1600" dirty="0">
              <a:solidFill>
                <a:srgbClr val="CB1C68"/>
              </a:solidFill>
              <a:latin typeface="Arial"/>
              <a:ea typeface="ＭＳ Ｐゴシック"/>
              <a:cs typeface="Arial"/>
            </a:endParaRPr>
          </a:p>
          <a:p>
            <a:pPr algn="l">
              <a:spcBef>
                <a:spcPct val="50000"/>
              </a:spcBef>
              <a:spcAft>
                <a:spcPts val="200"/>
              </a:spcAft>
            </a:pPr>
            <a:r>
              <a:rPr lang="ru-RU" sz="1200" dirty="0">
                <a:latin typeface="Arial"/>
                <a:ea typeface="ＭＳ Ｐゴシック"/>
                <a:cs typeface="Arial"/>
              </a:rPr>
              <a:t>1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.Unregistered vaccines are associated with a small market demand (quantity)</a:t>
            </a:r>
            <a:r>
              <a:rPr lang="ru-RU" sz="1200" dirty="0">
                <a:latin typeface="Arial"/>
                <a:ea typeface="ＭＳ Ｐゴシック"/>
                <a:cs typeface="Arial"/>
              </a:rPr>
              <a:t>.</a:t>
            </a:r>
            <a:endParaRPr lang="ru-RU" sz="13800" dirty="0">
              <a:cs typeface="Arial"/>
            </a:endParaRPr>
          </a:p>
          <a:p>
            <a:pPr algn="l" eaLnBrk="1" hangingPunct="1">
              <a:spcBef>
                <a:spcPct val="50000"/>
              </a:spcBef>
              <a:spcAft>
                <a:spcPts val="200"/>
              </a:spcAft>
            </a:pPr>
            <a:r>
              <a:rPr lang="ru-RU" sz="1200" dirty="0">
                <a:latin typeface="Arial"/>
                <a:ea typeface="ＭＳ Ｐゴシック"/>
                <a:cs typeface="Arial"/>
              </a:rPr>
              <a:t>2.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High prices offered by local companies are caused by certain factors (VAT, customs duties)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4654" y="6881187"/>
            <a:ext cx="2307606" cy="177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 anchor="t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dirty="0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Mitigating Mechanisms</a:t>
            </a:r>
            <a:endParaRPr lang="en-US" sz="1600" dirty="0">
              <a:latin typeface="Arial"/>
              <a:ea typeface="ＭＳ Ｐゴシック"/>
              <a:cs typeface="Arial"/>
            </a:endParaRPr>
          </a:p>
          <a:p>
            <a:pPr algn="l" eaLnBrk="1" hangingPunct="1">
              <a:spcAft>
                <a:spcPts val="200"/>
              </a:spcAft>
            </a:pPr>
            <a:endParaRPr lang="en-US" sz="1200" dirty="0">
              <a:latin typeface="Arial"/>
              <a:ea typeface="ＭＳ Ｐゴシック"/>
              <a:cs typeface="Arial"/>
            </a:endParaRPr>
          </a:p>
          <a:p>
            <a:pPr algn="l">
              <a:spcAft>
                <a:spcPts val="200"/>
              </a:spcAft>
            </a:pPr>
            <a:r>
              <a:rPr lang="en-US" sz="1200" dirty="0">
                <a:latin typeface="Arial"/>
                <a:ea typeface="ＭＳ Ｐゴシック"/>
                <a:cs typeface="Arial"/>
              </a:rPr>
              <a:t>In order to solve the presented problems the Ministry of Health of the Republic of Armenia has prepared draft decrees of the government of the RA</a:t>
            </a:r>
            <a:r>
              <a:rPr lang="ru-RU" sz="1200" dirty="0">
                <a:latin typeface="Arial"/>
                <a:ea typeface="ＭＳ Ｐゴシック"/>
                <a:cs typeface="Arial"/>
              </a:rPr>
              <a:t>,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which have been approved by the Government</a:t>
            </a:r>
            <a:endParaRPr lang="en-US" sz="1200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5833" y="6816531"/>
            <a:ext cx="2122498" cy="2101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 anchor="t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dirty="0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 </a:t>
            </a:r>
            <a:r>
              <a:rPr lang="en-US" sz="1600" dirty="0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Possible Solutions</a:t>
            </a:r>
            <a:endParaRPr lang="en-US" sz="1200" dirty="0">
              <a:cs typeface="Arial"/>
            </a:endParaRPr>
          </a:p>
          <a:p>
            <a:pPr>
              <a:spcBef>
                <a:spcPct val="50000"/>
              </a:spcBef>
            </a:pPr>
            <a:endParaRPr lang="en-US" sz="500" dirty="0">
              <a:solidFill>
                <a:srgbClr val="CB1C68"/>
              </a:solidFill>
              <a:cs typeface="Arial"/>
            </a:endParaRPr>
          </a:p>
          <a:p>
            <a:pPr algn="l" eaLnBrk="1" hangingPunct="1">
              <a:spcAft>
                <a:spcPts val="200"/>
              </a:spcAft>
            </a:pPr>
            <a:r>
              <a:rPr lang="ru-RU" sz="1200" dirty="0">
                <a:latin typeface="Arial"/>
                <a:ea typeface="ＭＳ Ｐゴシック"/>
                <a:cs typeface="Arial"/>
              </a:rPr>
              <a:t>1.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The decree adopted by the government has made the procurement of not registered vaccines possible</a:t>
            </a:r>
            <a:r>
              <a:rPr lang="ru-RU" sz="1200" dirty="0">
                <a:latin typeface="Arial"/>
                <a:ea typeface="ＭＳ Ｐゴシック"/>
                <a:cs typeface="Arial"/>
              </a:rPr>
              <a:t>.</a:t>
            </a:r>
            <a:endParaRPr lang="en-US" sz="1200" dirty="0">
              <a:latin typeface="Arial"/>
              <a:ea typeface="ＭＳ Ｐゴシック"/>
              <a:cs typeface="Arial"/>
            </a:endParaRPr>
          </a:p>
          <a:p>
            <a:pPr algn="l" eaLnBrk="1" hangingPunct="1">
              <a:spcAft>
                <a:spcPts val="200"/>
              </a:spcAft>
            </a:pPr>
            <a:r>
              <a:rPr lang="ru-RU" sz="1200" dirty="0">
                <a:latin typeface="Arial"/>
                <a:ea typeface="ＭＳ Ｐゴシック"/>
                <a:cs typeface="Arial"/>
              </a:rPr>
              <a:t>2.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The decree adopted by the government has made the procurement of vaccines from UNICEF at</a:t>
            </a:r>
            <a:r>
              <a:rPr lang="ru-RU" sz="1200" dirty="0">
                <a:latin typeface="Arial"/>
                <a:ea typeface="ＭＳ Ｐゴシック"/>
                <a:cs typeface="Arial"/>
              </a:rPr>
              <a:t>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moderate prices</a:t>
            </a:r>
            <a:r>
              <a:rPr lang="ru-RU" sz="1200" dirty="0">
                <a:latin typeface="Arial"/>
                <a:ea typeface="ＭＳ Ｐゴシック"/>
                <a:cs typeface="Arial"/>
              </a:rPr>
              <a:t>.</a:t>
            </a:r>
            <a:endParaRPr lang="en-US" sz="1200" dirty="0">
              <a:latin typeface="Arial"/>
              <a:ea typeface="ＭＳ Ｐゴシック"/>
              <a:cs typeface="Arial"/>
            </a:endParaRPr>
          </a:p>
          <a:p>
            <a:pPr algn="l" eaLnBrk="1" hangingPunct="1">
              <a:spcAft>
                <a:spcPts val="200"/>
              </a:spcAft>
            </a:pPr>
            <a:endParaRPr lang="en-US" sz="12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5645" y="6907138"/>
            <a:ext cx="1766919" cy="1853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 anchor="t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dirty="0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Problems</a:t>
            </a:r>
            <a:endParaRPr lang="ka-GE" sz="1600" dirty="0">
              <a:solidFill>
                <a:srgbClr val="CB1C68"/>
              </a:solidFill>
              <a:latin typeface="Arial"/>
              <a:ea typeface="ＭＳ Ｐゴシック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CB1C68"/>
              </a:solidFill>
              <a:latin typeface="Arial"/>
              <a:cs typeface="Arial"/>
            </a:endParaRPr>
          </a:p>
          <a:p>
            <a:pPr algn="l" eaLnBrk="1" hangingPunct="1">
              <a:spcAft>
                <a:spcPts val="200"/>
              </a:spcAft>
            </a:pPr>
            <a:r>
              <a:rPr lang="en-US" sz="1200" dirty="0">
                <a:latin typeface="Arial"/>
                <a:ea typeface="ＭＳ Ｐゴシック"/>
                <a:cs typeface="Arial"/>
              </a:rPr>
              <a:t>1.</a:t>
            </a:r>
            <a:r>
              <a:rPr lang="en-US" sz="1200" dirty="0">
                <a:solidFill>
                  <a:srgbClr val="CB1C68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With not registered vaccines</a:t>
            </a:r>
          </a:p>
          <a:p>
            <a:pPr algn="l" eaLnBrk="1" hangingPunct="1">
              <a:spcAft>
                <a:spcPts val="200"/>
              </a:spcAft>
            </a:pPr>
            <a:endParaRPr lang="ru-RU" sz="1200" dirty="0">
              <a:latin typeface="Arial"/>
              <a:cs typeface="Arial"/>
            </a:endParaRPr>
          </a:p>
          <a:p>
            <a:pPr algn="l" eaLnBrk="1" hangingPunct="1">
              <a:spcAft>
                <a:spcPts val="200"/>
              </a:spcAft>
            </a:pPr>
            <a:r>
              <a:rPr lang="ru-RU" sz="1200" dirty="0">
                <a:latin typeface="Arial"/>
                <a:ea typeface="ＭＳ Ｐゴシック"/>
                <a:cs typeface="Arial"/>
              </a:rPr>
              <a:t>2. </a:t>
            </a:r>
            <a:r>
              <a:rPr lang="en-US" sz="1200" dirty="0">
                <a:latin typeface="Arial"/>
                <a:ea typeface="ＭＳ Ｐゴシック"/>
                <a:cs typeface="Arial"/>
              </a:rPr>
              <a:t>Related to high prices offered by local companies</a:t>
            </a:r>
          </a:p>
          <a:p>
            <a:pPr algn="l" eaLnBrk="1" hangingPunct="1">
              <a:spcAft>
                <a:spcPts val="200"/>
              </a:spcAft>
            </a:pPr>
            <a:endParaRPr lang="en-US" sz="1200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pic>
        <p:nvPicPr>
          <p:cNvPr id="54" name="Picture 52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B5848D39-2C0E-7F41-9E19-70636F9B0D2A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6993" y="9061705"/>
            <a:ext cx="3652502" cy="623408"/>
          </a:xfrm>
          <a:prstGeom prst="rect">
            <a:avLst/>
          </a:prstGeom>
        </p:spPr>
      </p:pic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AD16F3E-F2F3-F84D-9B89-032CBDB5B869}"/>
              </a:ext>
            </a:extLst>
          </p:cNvPr>
          <p:cNvCxnSpPr>
            <a:cxnSpLocks/>
          </p:cNvCxnSpPr>
          <p:nvPr/>
        </p:nvCxnSpPr>
        <p:spPr>
          <a:xfrm flipH="1" flipV="1">
            <a:off x="5124318" y="3435699"/>
            <a:ext cx="1" cy="751613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BAD16F3E-F2F3-F84D-9B89-032CBDB5B869}"/>
              </a:ext>
            </a:extLst>
          </p:cNvPr>
          <p:cNvCxnSpPr>
            <a:cxnSpLocks/>
          </p:cNvCxnSpPr>
          <p:nvPr/>
        </p:nvCxnSpPr>
        <p:spPr>
          <a:xfrm flipH="1" flipV="1">
            <a:off x="5060269" y="5343039"/>
            <a:ext cx="1498" cy="774890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http://kapterka.com.ua/image/cache/data/1flag/armenia-flag-s-gerbom-max-50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75" y="118593"/>
            <a:ext cx="1980826" cy="1269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341735"/>
              </p:ext>
            </p:extLst>
          </p:nvPr>
        </p:nvGraphicFramePr>
        <p:xfrm>
          <a:off x="115037" y="2028558"/>
          <a:ext cx="3899659" cy="423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70">
                  <a:extLst>
                    <a:ext uri="{9D8B030D-6E8A-4147-A177-3AD203B41FA5}">
                      <a16:colId xmlns:a16="http://schemas.microsoft.com/office/drawing/2014/main" val="1150598981"/>
                    </a:ext>
                  </a:extLst>
                </a:gridCol>
                <a:gridCol w="622222">
                  <a:extLst>
                    <a:ext uri="{9D8B030D-6E8A-4147-A177-3AD203B41FA5}">
                      <a16:colId xmlns:a16="http://schemas.microsoft.com/office/drawing/2014/main" val="2702129909"/>
                    </a:ext>
                  </a:extLst>
                </a:gridCol>
                <a:gridCol w="1441008">
                  <a:extLst>
                    <a:ext uri="{9D8B030D-6E8A-4147-A177-3AD203B41FA5}">
                      <a16:colId xmlns:a16="http://schemas.microsoft.com/office/drawing/2014/main" val="2221033496"/>
                    </a:ext>
                  </a:extLst>
                </a:gridCol>
                <a:gridCol w="900259">
                  <a:extLst>
                    <a:ext uri="{9D8B030D-6E8A-4147-A177-3AD203B41FA5}">
                      <a16:colId xmlns:a16="http://schemas.microsoft.com/office/drawing/2014/main" val="2586882252"/>
                    </a:ext>
                  </a:extLst>
                </a:gridCol>
              </a:tblGrid>
              <a:tr h="256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500">
                          <a:effectLst/>
                        </a:rPr>
                        <a:t>Vaccine</a:t>
                      </a:r>
                      <a:endParaRPr lang="en-US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500">
                          <a:effectLst/>
                        </a:rPr>
                        <a:t>Presentation</a:t>
                      </a:r>
                      <a:endParaRPr lang="en-US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500">
                          <a:effectLst/>
                        </a:rPr>
                        <a:t>Manufacturer</a:t>
                      </a:r>
                      <a:r>
                        <a:rPr lang="ru-RU" sz="500">
                          <a:effectLst/>
                        </a:rPr>
                        <a:t>/ </a:t>
                      </a:r>
                      <a:r>
                        <a:rPr lang="en-US" sz="500">
                          <a:effectLst/>
                        </a:rPr>
                        <a:t>Price per dose </a:t>
                      </a:r>
                      <a:r>
                        <a:rPr lang="ru-RU" sz="500">
                          <a:effectLst/>
                        </a:rPr>
                        <a:t>(</a:t>
                      </a:r>
                      <a:r>
                        <a:rPr lang="en-US" sz="500">
                          <a:effectLst/>
                        </a:rPr>
                        <a:t>USD</a:t>
                      </a:r>
                      <a:r>
                        <a:rPr lang="ru-RU" sz="500">
                          <a:effectLst/>
                        </a:rPr>
                        <a:t>)</a:t>
                      </a:r>
                      <a:endParaRPr lang="en-US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500">
                          <a:effectLst/>
                        </a:rPr>
                        <a:t>Procurement Mechanism</a:t>
                      </a:r>
                      <a:endParaRPr lang="en-US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584777224"/>
                  </a:ext>
                </a:extLst>
              </a:tr>
              <a:tr h="1689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Hepatitis B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10 doses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LG LIFE Sciences/ 231.43 AMD/0,48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Mechanism 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333715733"/>
                  </a:ext>
                </a:extLst>
              </a:tr>
              <a:tr h="1456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MPR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2 doses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GSK/2463.11 AMD/0,95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Mechanism 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226084582"/>
                  </a:ext>
                </a:extLst>
              </a:tr>
              <a:tr h="190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Hexavalent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One dose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Sanofi </a:t>
                      </a: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Paster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/ 11136.11 AMD/22,73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Local Procurement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064613523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Td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10 doses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BB-NCIPD/71.58 AMD/0,15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4152245839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BCG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20 doses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BB-NCIPD/45.92 AMD/0,09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544224382"/>
                  </a:ext>
                </a:extLst>
              </a:tr>
              <a:tr h="256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 err="1">
                          <a:effectLst/>
                        </a:rPr>
                        <a:t>Eupenta</a:t>
                      </a:r>
                      <a:r>
                        <a:rPr lang="en-US" sz="600" baseline="0" dirty="0">
                          <a:effectLst/>
                        </a:rPr>
                        <a:t> </a:t>
                      </a:r>
                      <a:r>
                        <a:rPr lang="en-US" sz="600" dirty="0">
                          <a:effectLst/>
                        </a:rPr>
                        <a:t>DPT/Hepatitis B /Hib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LG LIFE Sciences/ 538.65 AMD/1,1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552133250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IPV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Bilthoven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 Bi </a:t>
                      </a: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ologicals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 B.V./1521.7 AMD/3,11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4103774979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OPV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10 doses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GSK Belgium/98.94AMD/0.2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282881096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Pneumococcal - </a:t>
                      </a:r>
                      <a:r>
                        <a:rPr lang="en-US" sz="600" dirty="0" err="1">
                          <a:effectLst/>
                        </a:rPr>
                        <a:t>Prevenar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Pfizer/  1655.39 AMD/3,38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UNICEF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886716552"/>
                  </a:ext>
                </a:extLst>
              </a:tr>
              <a:tr h="256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HAV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Вектор-БиАльгам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 /8085AMD/16,5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Local Procurement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3257174925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Meningococcal  - </a:t>
                      </a:r>
                      <a:r>
                        <a:rPr lang="en-US" sz="600" dirty="0" err="1">
                          <a:effectLst/>
                        </a:rPr>
                        <a:t>Menactra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Sanofi </a:t>
                      </a: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Paster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/12700.8AMD/25,92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dirty="0">
                          <a:effectLst/>
                        </a:rPr>
                        <a:t>UNICEF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06653335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HBV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</a:t>
                      </a:r>
                      <a:r>
                        <a:rPr lang="en-US" sz="600" baseline="0">
                          <a:effectLst/>
                        </a:rPr>
                        <a:t>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LG LIFE </a:t>
                      </a: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Scienes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/231.43AMD/0,47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dirty="0">
                          <a:effectLst/>
                        </a:rPr>
                        <a:t>UNICEF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385427557"/>
                  </a:ext>
                </a:extLst>
              </a:tr>
              <a:tr h="256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ka-GE" sz="600" dirty="0">
                          <a:effectLst/>
                        </a:rPr>
                        <a:t> </a:t>
                      </a:r>
                      <a:r>
                        <a:rPr lang="en-US" sz="600" dirty="0">
                          <a:effectLst/>
                        </a:rPr>
                        <a:t>HPV - Gardasil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Merk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 Sharp Schering-</a:t>
                      </a: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Ploagh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 Central East AG/2379.94AMD/4,86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dirty="0">
                          <a:effectLst/>
                        </a:rPr>
                        <a:t>UNICEF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1170528801"/>
                  </a:ext>
                </a:extLst>
              </a:tr>
              <a:tr h="1836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Rotavirus - </a:t>
                      </a:r>
                      <a:r>
                        <a:rPr lang="en-US" sz="600" dirty="0" err="1">
                          <a:effectLst/>
                        </a:rPr>
                        <a:t>Rotarix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GSK Belgium/1112.92AMD/2,27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dirty="0">
                          <a:effectLst/>
                        </a:rPr>
                        <a:t>UNICEF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2040046750"/>
                  </a:ext>
                </a:extLst>
              </a:tr>
              <a:tr h="1566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 err="1">
                          <a:effectLst/>
                        </a:rPr>
                        <a:t>Tularimia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>
                          <a:effectLst/>
                        </a:rPr>
                        <a:t>35 </a:t>
                      </a:r>
                      <a:r>
                        <a:rPr lang="en-US" sz="600">
                          <a:effectLst/>
                        </a:rPr>
                        <a:t>doses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Микроген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 </a:t>
                      </a:r>
                      <a:r>
                        <a:rPr lang="en-US" sz="600" b="0" strike="noStrike" spc="-1" dirty="0" err="1">
                          <a:solidFill>
                            <a:srgbClr val="313231"/>
                          </a:solidFill>
                          <a:latin typeface="Arial"/>
                        </a:rPr>
                        <a:t>Россия</a:t>
                      </a: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/769.29AMD/1,57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dirty="0">
                          <a:effectLst/>
                        </a:rPr>
                        <a:t>Local</a:t>
                      </a:r>
                      <a:r>
                        <a:rPr lang="en-US" sz="600" baseline="0" dirty="0">
                          <a:effectLst/>
                        </a:rPr>
                        <a:t> procurement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2456638924"/>
                  </a:ext>
                </a:extLst>
              </a:tr>
              <a:tr h="2034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 err="1">
                          <a:effectLst/>
                        </a:rPr>
                        <a:t>Rabipur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One dose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>
                          <a:solidFill>
                            <a:srgbClr val="313231"/>
                          </a:solidFill>
                          <a:latin typeface="Arial"/>
                        </a:rPr>
                        <a:t>Chiron Behring Vaccines PVT LTD/2389.56AMD/4,88$</a:t>
                      </a:r>
                      <a:endParaRPr lang="en-US" sz="600" b="0" strike="noStrike" spc="-1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dirty="0">
                          <a:effectLst/>
                        </a:rPr>
                        <a:t>GSK </a:t>
                      </a:r>
                      <a:r>
                        <a:rPr lang="en-US" sz="600" dirty="0">
                          <a:effectLst/>
                        </a:rPr>
                        <a:t>India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3289145153"/>
                  </a:ext>
                </a:extLst>
              </a:tr>
              <a:tr h="1707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600">
                          <a:effectLst/>
                        </a:rPr>
                        <a:t>Flue Multi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>
                          <a:effectLst/>
                        </a:rPr>
                        <a:t>10 </a:t>
                      </a:r>
                      <a:r>
                        <a:rPr lang="en-US" sz="600">
                          <a:effectLst/>
                        </a:rPr>
                        <a:t>doses</a:t>
                      </a:r>
                      <a:endParaRPr lang="en-US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1"/>
                        </a:spcAft>
                      </a:pPr>
                      <a:r>
                        <a:rPr lang="en-US" sz="600" b="0" strike="noStrike" spc="-1" dirty="0">
                          <a:solidFill>
                            <a:srgbClr val="313231"/>
                          </a:solidFill>
                          <a:latin typeface="Arial"/>
                        </a:rPr>
                        <a:t>Green Cross/1277.54 AMD/2,61$</a:t>
                      </a:r>
                      <a:endParaRPr lang="en-US" sz="600" b="0" strike="noStrike" spc="-1" dirty="0">
                        <a:latin typeface="Arial"/>
                      </a:endParaRPr>
                    </a:p>
                  </a:txBody>
                  <a:tcPr marL="82080" marR="8208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dirty="0">
                          <a:effectLst/>
                        </a:rPr>
                        <a:t>UNICEF</a:t>
                      </a:r>
                      <a:endParaRPr lang="en-US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328" marR="82328" marT="41164" marB="41164"/>
                </a:tc>
                <a:extLst>
                  <a:ext uri="{0D108BD9-81ED-4DB2-BD59-A6C34878D82A}">
                    <a16:rowId xmlns:a16="http://schemas.microsoft.com/office/drawing/2014/main" val="253958108"/>
                  </a:ext>
                </a:extLst>
              </a:tr>
            </a:tbl>
          </a:graphicData>
        </a:graphic>
      </p:graphicFrame>
      <p:pic>
        <p:nvPicPr>
          <p:cNvPr id="2" name="Picture 3">
            <a:extLst>
              <a:ext uri="{FF2B5EF4-FFF2-40B4-BE49-F238E27FC236}">
                <a16:creationId xmlns:a16="http://schemas.microsoft.com/office/drawing/2014/main" id="{AA7B6C2C-B8A5-40B6-8020-410DB26A44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4922" y="9113612"/>
            <a:ext cx="1494586" cy="50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7537AA-D737-45E6-B641-403CF92267E9}"/>
</file>

<file path=customXml/itemProps3.xml><?xml version="1.0" encoding="utf-8"?>
<ds:datastoreItem xmlns:ds="http://schemas.openxmlformats.org/officeDocument/2006/customXml" ds:itemID="{DF8F70BE-E4CC-4D73-8BA0-08FE658F0A94}">
  <ds:schemaRefs>
    <ds:schemaRef ds:uri="2af4539b-39f3-4771-ac1a-16de5a20c394"/>
    <ds:schemaRef ds:uri="768c69c3-fa35-427a-bd39-62ed8a1a923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</TotalTime>
  <Words>595</Words>
  <Application>Microsoft Macintosh PowerPoint</Application>
  <PresentationFormat>A3 Paper (297x420 mm)</PresentationFormat>
  <Paragraphs>13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Sylfaen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5</cp:revision>
  <cp:lastPrinted>2019-03-11T13:21:01Z</cp:lastPrinted>
  <dcterms:created xsi:type="dcterms:W3CDTF">2013-09-25T20:04:22Z</dcterms:created>
  <dcterms:modified xsi:type="dcterms:W3CDTF">2019-04-04T20:5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